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tags/tag32.xml" ContentType="application/vnd.openxmlformats-officedocument.presentationml.tags+xml"/>
  <Override PartName="/ppt/charts/chart6.xml" ContentType="application/vnd.openxmlformats-officedocument.drawingml.chart+xml"/>
  <Override PartName="/ppt/charts/chart7.xml" ContentType="application/vnd.openxmlformats-officedocument.drawingml.chart+xml"/>
  <Override PartName="/ppt/tags/tag33.xml" ContentType="application/vnd.openxmlformats-officedocument.presentationml.tags+xml"/>
  <Override PartName="/ppt/charts/chart8.xml" ContentType="application/vnd.openxmlformats-officedocument.drawingml.chart+xml"/>
  <Override PartName="/ppt/charts/chart9.xml" ContentType="application/vnd.openxmlformats-officedocument.drawingml.chart+xml"/>
  <Override PartName="/ppt/tags/tag34.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5.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6.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7.xml" ContentType="application/vnd.openxmlformats-officedocument.presentationml.tags+xml"/>
  <Override PartName="/ppt/charts/chart19.xml" ContentType="application/vnd.openxmlformats-officedocument.drawingml.chart+xml"/>
  <Override PartName="/ppt/tags/tag38.xml" ContentType="application/vnd.openxmlformats-officedocument.presentationml.tags+xml"/>
  <Override PartName="/ppt/charts/chart20.xml" ContentType="application/vnd.openxmlformats-officedocument.drawingml.chart+xml"/>
  <Override PartName="/ppt/tags/tag39.xml" ContentType="application/vnd.openxmlformats-officedocument.presentationml.tags+xml"/>
  <Override PartName="/ppt/charts/chart21.xml" ContentType="application/vnd.openxmlformats-officedocument.drawingml.chart+xml"/>
  <Override PartName="/ppt/tags/tag40.xml" ContentType="application/vnd.openxmlformats-officedocument.presentationml.tags+xml"/>
  <Override PartName="/ppt/charts/chart22.xml" ContentType="application/vnd.openxmlformats-officedocument.drawingml.chart+xml"/>
  <Override PartName="/ppt/tags/tag41.xml" ContentType="application/vnd.openxmlformats-officedocument.presentationml.tags+xml"/>
  <Override PartName="/ppt/charts/chart23.xml" ContentType="application/vnd.openxmlformats-officedocument.drawingml.chart+xml"/>
  <Override PartName="/ppt/tags/tag42.xml" ContentType="application/vnd.openxmlformats-officedocument.presentationml.tags+xml"/>
  <Override PartName="/ppt/charts/chart24.xml" ContentType="application/vnd.openxmlformats-officedocument.drawingml.chart+xml"/>
  <Override PartName="/ppt/tags/tag43.xml" ContentType="application/vnd.openxmlformats-officedocument.presentationml.tags+xml"/>
  <Override PartName="/ppt/charts/chart25.xml" ContentType="application/vnd.openxmlformats-officedocument.drawingml.chart+xml"/>
  <Override PartName="/ppt/tags/tag44.xml" ContentType="application/vnd.openxmlformats-officedocument.presentationml.tags+xml"/>
  <Override PartName="/ppt/charts/chart26.xml" ContentType="application/vnd.openxmlformats-officedocument.drawingml.chart+xml"/>
  <Override PartName="/ppt/tags/tag45.xml" ContentType="application/vnd.openxmlformats-officedocument.presentationml.tags+xml"/>
  <Override PartName="/ppt/charts/chart27.xml" ContentType="application/vnd.openxmlformats-officedocument.drawingml.chart+xml"/>
  <Override PartName="/ppt/tags/tag46.xml" ContentType="application/vnd.openxmlformats-officedocument.presentationml.tags+xml"/>
  <Override PartName="/ppt/charts/chart28.xml" ContentType="application/vnd.openxmlformats-officedocument.drawingml.chart+xml"/>
  <Override PartName="/ppt/tags/tag47.xml" ContentType="application/vnd.openxmlformats-officedocument.presentationml.tags+xml"/>
  <Override PartName="/ppt/charts/chart29.xml" ContentType="application/vnd.openxmlformats-officedocument.drawingml.chart+xml"/>
  <Override PartName="/ppt/tags/tag48.xml" ContentType="application/vnd.openxmlformats-officedocument.presentationml.tags+xml"/>
  <Override PartName="/ppt/charts/chart30.xml" ContentType="application/vnd.openxmlformats-officedocument.drawingml.chart+xml"/>
  <Override PartName="/ppt/tags/tag49.xml" ContentType="application/vnd.openxmlformats-officedocument.presentationml.tags+xml"/>
  <Override PartName="/ppt/charts/chart31.xml" ContentType="application/vnd.openxmlformats-officedocument.drawingml.chart+xml"/>
  <Override PartName="/ppt/tags/tag50.xml" ContentType="application/vnd.openxmlformats-officedocument.presentationml.tags+xml"/>
  <Override PartName="/ppt/charts/chart32.xml" ContentType="application/vnd.openxmlformats-officedocument.drawingml.chart+xml"/>
  <Override PartName="/ppt/tags/tag51.xml" ContentType="application/vnd.openxmlformats-officedocument.presentationml.tags+xml"/>
  <Override PartName="/ppt/charts/chart33.xml" ContentType="application/vnd.openxmlformats-officedocument.drawingml.chart+xml"/>
  <Override PartName="/ppt/tags/tag52.xml" ContentType="application/vnd.openxmlformats-officedocument.presentationml.tags+xml"/>
  <Override PartName="/ppt/charts/chart34.xml" ContentType="application/vnd.openxmlformats-officedocument.drawingml.chart+xml"/>
  <Override PartName="/ppt/tags/tag53.xml" ContentType="application/vnd.openxmlformats-officedocument.presentationml.tags+xml"/>
  <Override PartName="/ppt/charts/chart35.xml" ContentType="application/vnd.openxmlformats-officedocument.drawingml.chart+xml"/>
  <Override PartName="/ppt/tags/tag54.xml" ContentType="application/vnd.openxmlformats-officedocument.presentationml.tags+xml"/>
  <Override PartName="/ppt/charts/chart36.xml" ContentType="application/vnd.openxmlformats-officedocument.drawingml.chart+xml"/>
  <Override PartName="/ppt/tags/tag55.xml" ContentType="application/vnd.openxmlformats-officedocument.presentationml.tags+xml"/>
  <Override PartName="/ppt/charts/chart37.xml" ContentType="application/vnd.openxmlformats-officedocument.drawingml.chart+xml"/>
  <Override PartName="/ppt/tags/tag56.xml" ContentType="application/vnd.openxmlformats-officedocument.presentationml.tags+xml"/>
  <Override PartName="/ppt/charts/chart38.xml" ContentType="application/vnd.openxmlformats-officedocument.drawingml.chart+xml"/>
  <Override PartName="/ppt/tags/tag57.xml" ContentType="application/vnd.openxmlformats-officedocument.presentationml.tags+xml"/>
  <Override PartName="/ppt/charts/chart39.xml" ContentType="application/vnd.openxmlformats-officedocument.drawingml.chart+xml"/>
  <Override PartName="/ppt/tags/tag58.xml" ContentType="application/vnd.openxmlformats-officedocument.presentationml.tags+xml"/>
  <Override PartName="/ppt/charts/chart40.xml" ContentType="application/vnd.openxmlformats-officedocument.drawingml.chart+xml"/>
  <Override PartName="/ppt/tags/tag59.xml" ContentType="application/vnd.openxmlformats-officedocument.presentationml.tags+xml"/>
  <Override PartName="/ppt/charts/chart41.xml" ContentType="application/vnd.openxmlformats-officedocument.drawingml.chart+xml"/>
  <Override PartName="/ppt/tags/tag60.xml" ContentType="application/vnd.openxmlformats-officedocument.presentationml.tags+xml"/>
  <Override PartName="/ppt/charts/chart42.xml" ContentType="application/vnd.openxmlformats-officedocument.drawingml.chart+xml"/>
  <Override PartName="/ppt/tags/tag61.xml" ContentType="application/vnd.openxmlformats-officedocument.presentationml.tags+xml"/>
  <Override PartName="/ppt/charts/chart43.xml" ContentType="application/vnd.openxmlformats-officedocument.drawingml.chart+xml"/>
  <Override PartName="/ppt/tags/tag62.xml" ContentType="application/vnd.openxmlformats-officedocument.presentationml.tags+xml"/>
  <Override PartName="/ppt/charts/chart44.xml" ContentType="application/vnd.openxmlformats-officedocument.drawingml.chart+xml"/>
  <Override PartName="/ppt/tags/tag63.xml" ContentType="application/vnd.openxmlformats-officedocument.presentationml.tags+xml"/>
  <Override PartName="/ppt/charts/chart45.xml" ContentType="application/vnd.openxmlformats-officedocument.drawingml.chart+xml"/>
  <Override PartName="/ppt/tags/tag64.xml" ContentType="application/vnd.openxmlformats-officedocument.presentationml.tags+xml"/>
  <Override PartName="/ppt/charts/chart46.xml" ContentType="application/vnd.openxmlformats-officedocument.drawingml.chart+xml"/>
  <Override PartName="/ppt/tags/tag65.xml" ContentType="application/vnd.openxmlformats-officedocument.presentationml.tags+xml"/>
  <Override PartName="/ppt/charts/chart47.xml" ContentType="application/vnd.openxmlformats-officedocument.drawingml.chart+xml"/>
  <Override PartName="/ppt/tags/tag66.xml" ContentType="application/vnd.openxmlformats-officedocument.presentationml.tags+xml"/>
  <Override PartName="/ppt/charts/chart48.xml" ContentType="application/vnd.openxmlformats-officedocument.drawingml.chart+xml"/>
  <Override PartName="/ppt/tags/tag67.xml" ContentType="application/vnd.openxmlformats-officedocument.presentationml.tags+xml"/>
  <Override PartName="/ppt/notesSlides/notesSlide1.xml" ContentType="application/vnd.openxmlformats-officedocument.presentationml.notesSlide+xml"/>
  <Override PartName="/ppt/tags/tag68.xml" ContentType="application/vnd.openxmlformats-officedocument.presentationml.tags+xml"/>
  <Override PartName="/ppt/notesSlides/notesSlide2.xml" ContentType="application/vnd.openxmlformats-officedocument.presentationml.notesSlide+xml"/>
  <Override PartName="/ppt/tags/tag69.xml" ContentType="application/vnd.openxmlformats-officedocument.presentationml.tags+xml"/>
  <Override PartName="/ppt/notesSlides/notesSlide3.xml" ContentType="application/vnd.openxmlformats-officedocument.presentationml.notesSlide+xml"/>
  <Override PartName="/ppt/tags/tag70.xml" ContentType="application/vnd.openxmlformats-officedocument.presentationml.tags+xml"/>
  <Override PartName="/ppt/notesSlides/notesSlide4.xml" ContentType="application/vnd.openxmlformats-officedocument.presentationml.notesSlide+xml"/>
  <Override PartName="/ppt/tags/tag71.xml" ContentType="application/vnd.openxmlformats-officedocument.presentationml.tags+xml"/>
  <Override PartName="/ppt/notesSlides/notesSlide5.xml" ContentType="application/vnd.openxmlformats-officedocument.presentationml.notesSlide+xml"/>
  <Override PartName="/ppt/tags/tag72.xml" ContentType="application/vnd.openxmlformats-officedocument.presentationml.tags+xml"/>
  <Override PartName="/ppt/notesSlides/notesSlide6.xml" ContentType="application/vnd.openxmlformats-officedocument.presentationml.notesSlide+xml"/>
  <Override PartName="/ppt/tags/tag73.xml" ContentType="application/vnd.openxmlformats-officedocument.presentationml.tags+xml"/>
  <Override PartName="/ppt/notesSlides/notesSlide7.xml" ContentType="application/vnd.openxmlformats-officedocument.presentationml.notesSlide+xml"/>
  <Override PartName="/ppt/tags/tag74.xml" ContentType="application/vnd.openxmlformats-officedocument.presentationml.tags+xml"/>
  <Override PartName="/ppt/notesSlides/notesSlide8.xml" ContentType="application/vnd.openxmlformats-officedocument.presentationml.notesSlide+xml"/>
  <Override PartName="/ppt/tags/tag75.xml" ContentType="application/vnd.openxmlformats-officedocument.presentationml.tags+xml"/>
  <Override PartName="/ppt/notesSlides/notesSlide9.xml" ContentType="application/vnd.openxmlformats-officedocument.presentationml.notesSlide+xml"/>
  <Override PartName="/ppt/tags/tag76.xml" ContentType="application/vnd.openxmlformats-officedocument.presentationml.tags+xml"/>
  <Override PartName="/ppt/notesSlides/notesSlide10.xml" ContentType="application/vnd.openxmlformats-officedocument.presentationml.notesSlide+xml"/>
  <Override PartName="/ppt/tags/tag77.xml" ContentType="application/vnd.openxmlformats-officedocument.presentationml.tags+xml"/>
  <Override PartName="/ppt/notesSlides/notesSlide11.xml" ContentType="application/vnd.openxmlformats-officedocument.presentationml.notesSlide+xml"/>
  <Override PartName="/ppt/tags/tag78.xml" ContentType="application/vnd.openxmlformats-officedocument.presentationml.tags+xml"/>
  <Override PartName="/ppt/notesSlides/notesSlide12.xml" ContentType="application/vnd.openxmlformats-officedocument.presentationml.notesSlide+xml"/>
  <Override PartName="/ppt/tags/tag79.xml" ContentType="application/vnd.openxmlformats-officedocument.presentationml.tags+xml"/>
  <Override PartName="/ppt/notesSlides/notesSlide13.xml" ContentType="application/vnd.openxmlformats-officedocument.presentationml.notesSlide+xml"/>
  <Override PartName="/ppt/charts/chart49.xml" ContentType="application/vnd.openxmlformats-officedocument.drawingml.chart+xml"/>
  <Override PartName="/ppt/charts/style1.xml" ContentType="application/vnd.ms-office.chartstyle+xml"/>
  <Override PartName="/ppt/charts/colors1.xml" ContentType="application/vnd.ms-office.chartcolorstyle+xml"/>
  <Override PartName="/ppt/tags/tag80.xml" ContentType="application/vnd.openxmlformats-officedocument.presentationml.tags+xml"/>
  <Override PartName="/ppt/notesSlides/notesSlide14.xml" ContentType="application/vnd.openxmlformats-officedocument.presentationml.notesSlide+xml"/>
  <Override PartName="/ppt/charts/chart50.xml" ContentType="application/vnd.openxmlformats-officedocument.drawingml.chart+xml"/>
  <Override PartName="/ppt/charts/style2.xml" ContentType="application/vnd.ms-office.chartstyle+xml"/>
  <Override PartName="/ppt/charts/colors2.xml" ContentType="application/vnd.ms-office.chartcolorstyle+xml"/>
  <Override PartName="/ppt/tags/tag81.xml" ContentType="application/vnd.openxmlformats-officedocument.presentationml.tags+xml"/>
  <Override PartName="/ppt/notesSlides/notesSlide15.xml" ContentType="application/vnd.openxmlformats-officedocument.presentationml.notesSlide+xml"/>
  <Override PartName="/ppt/charts/chart51.xml" ContentType="application/vnd.openxmlformats-officedocument.drawingml.chart+xml"/>
  <Override PartName="/ppt/charts/style3.xml" ContentType="application/vnd.ms-office.chartstyle+xml"/>
  <Override PartName="/ppt/charts/colors3.xml" ContentType="application/vnd.ms-office.chartcolorstyle+xml"/>
  <Override PartName="/ppt/tags/tag82.xml" ContentType="application/vnd.openxmlformats-officedocument.presentationml.tags+xml"/>
  <Override PartName="/ppt/notesSlides/notesSlide16.xml" ContentType="application/vnd.openxmlformats-officedocument.presentationml.notesSlide+xml"/>
  <Override PartName="/ppt/charts/chart52.xml" ContentType="application/vnd.openxmlformats-officedocument.drawingml.chart+xml"/>
  <Override PartName="/ppt/charts/style4.xml" ContentType="application/vnd.ms-office.chartstyle+xml"/>
  <Override PartName="/ppt/charts/colors4.xml" ContentType="application/vnd.ms-office.chartcolorstyle+xml"/>
  <Override PartName="/ppt/tags/tag83.xml" ContentType="application/vnd.openxmlformats-officedocument.presentationml.tags+xml"/>
  <Override PartName="/ppt/notesSlides/notesSlide17.xml" ContentType="application/vnd.openxmlformats-officedocument.presentationml.notesSlide+xml"/>
  <Override PartName="/ppt/charts/chart53.xml" ContentType="application/vnd.openxmlformats-officedocument.drawingml.chart+xml"/>
  <Override PartName="/ppt/charts/style5.xml" ContentType="application/vnd.ms-office.chartstyle+xml"/>
  <Override PartName="/ppt/charts/colors5.xml" ContentType="application/vnd.ms-office.chartcolorstyle+xml"/>
  <Override PartName="/ppt/tags/tag84.xml" ContentType="application/vnd.openxmlformats-officedocument.presentationml.tags+xml"/>
  <Override PartName="/ppt/notesSlides/notesSlide18.xml" ContentType="application/vnd.openxmlformats-officedocument.presentationml.notesSlide+xml"/>
  <Override PartName="/ppt/charts/chart54.xml" ContentType="application/vnd.openxmlformats-officedocument.drawingml.chart+xml"/>
  <Override PartName="/ppt/charts/style6.xml" ContentType="application/vnd.ms-office.chartstyle+xml"/>
  <Override PartName="/ppt/charts/colors6.xml" ContentType="application/vnd.ms-office.chartcolorstyle+xml"/>
  <Override PartName="/ppt/tags/tag85.xml" ContentType="application/vnd.openxmlformats-officedocument.presentationml.tags+xml"/>
  <Override PartName="/ppt/notesSlides/notesSlide19.xml" ContentType="application/vnd.openxmlformats-officedocument.presentationml.notesSlide+xml"/>
  <Override PartName="/ppt/charts/chart55.xml" ContentType="application/vnd.openxmlformats-officedocument.drawingml.chart+xml"/>
  <Override PartName="/ppt/charts/style7.xml" ContentType="application/vnd.ms-office.chartstyle+xml"/>
  <Override PartName="/ppt/charts/colors7.xml" ContentType="application/vnd.ms-office.chartcolorstyle+xml"/>
  <Override PartName="/ppt/tags/tag86.xml" ContentType="application/vnd.openxmlformats-officedocument.presentationml.tags+xml"/>
  <Override PartName="/ppt/notesSlides/notesSlide20.xml" ContentType="application/vnd.openxmlformats-officedocument.presentationml.notesSlide+xml"/>
  <Override PartName="/ppt/charts/chart56.xml" ContentType="application/vnd.openxmlformats-officedocument.drawingml.chart+xml"/>
  <Override PartName="/ppt/charts/style8.xml" ContentType="application/vnd.ms-office.chartstyle+xml"/>
  <Override PartName="/ppt/charts/colors8.xml" ContentType="application/vnd.ms-office.chartcolorstyle+xml"/>
  <Override PartName="/ppt/tags/tag87.xml" ContentType="application/vnd.openxmlformats-officedocument.presentationml.tags+xml"/>
  <Override PartName="/ppt/notesSlides/notesSlide21.xml" ContentType="application/vnd.openxmlformats-officedocument.presentationml.notesSlide+xml"/>
  <Override PartName="/ppt/charts/chart57.xml" ContentType="application/vnd.openxmlformats-officedocument.drawingml.chart+xml"/>
  <Override PartName="/ppt/charts/style9.xml" ContentType="application/vnd.ms-office.chartstyle+xml"/>
  <Override PartName="/ppt/charts/colors9.xml" ContentType="application/vnd.ms-office.chartcolorstyle+xml"/>
  <Override PartName="/ppt/tags/tag88.xml" ContentType="application/vnd.openxmlformats-officedocument.presentationml.tags+xml"/>
  <Override PartName="/ppt/notesSlides/notesSlide22.xml" ContentType="application/vnd.openxmlformats-officedocument.presentationml.notesSlide+xml"/>
  <Override PartName="/ppt/charts/chart58.xml" ContentType="application/vnd.openxmlformats-officedocument.drawingml.chart+xml"/>
  <Override PartName="/ppt/charts/style10.xml" ContentType="application/vnd.ms-office.chartstyle+xml"/>
  <Override PartName="/ppt/charts/colors10.xml" ContentType="application/vnd.ms-office.chartcolorstyle+xml"/>
  <Override PartName="/ppt/tags/tag89.xml" ContentType="application/vnd.openxmlformats-officedocument.presentationml.tags+xml"/>
  <Override PartName="/ppt/notesSlides/notesSlide23.xml" ContentType="application/vnd.openxmlformats-officedocument.presentationml.notesSlide+xml"/>
  <Override PartName="/ppt/charts/chart59.xml" ContentType="application/vnd.openxmlformats-officedocument.drawingml.chart+xml"/>
  <Override PartName="/ppt/charts/style11.xml" ContentType="application/vnd.ms-office.chartstyle+xml"/>
  <Override PartName="/ppt/charts/colors11.xml" ContentType="application/vnd.ms-office.chartcolorstyle+xml"/>
  <Override PartName="/ppt/tags/tag90.xml" ContentType="application/vnd.openxmlformats-officedocument.presentationml.tags+xml"/>
  <Override PartName="/ppt/notesSlides/notesSlide24.xml" ContentType="application/vnd.openxmlformats-officedocument.presentationml.notesSlide+xml"/>
  <Override PartName="/ppt/charts/chart60.xml" ContentType="application/vnd.openxmlformats-officedocument.drawingml.chart+xml"/>
  <Override PartName="/ppt/charts/style12.xml" ContentType="application/vnd.ms-office.chartstyle+xml"/>
  <Override PartName="/ppt/charts/colors12.xml" ContentType="application/vnd.ms-office.chartcolorstyle+xml"/>
  <Override PartName="/ppt/tags/tag91.xml" ContentType="application/vnd.openxmlformats-officedocument.presentationml.tags+xml"/>
  <Override PartName="/ppt/notesSlides/notesSlide25.xml" ContentType="application/vnd.openxmlformats-officedocument.presentationml.notesSlide+xml"/>
  <Override PartName="/ppt/charts/chart61.xml" ContentType="application/vnd.openxmlformats-officedocument.drawingml.chart+xml"/>
  <Override PartName="/ppt/charts/style13.xml" ContentType="application/vnd.ms-office.chartstyle+xml"/>
  <Override PartName="/ppt/charts/colors13.xml" ContentType="application/vnd.ms-office.chartcolorstyle+xml"/>
  <Override PartName="/ppt/tags/tag92.xml" ContentType="application/vnd.openxmlformats-officedocument.presentationml.tags+xml"/>
  <Override PartName="/ppt/notesSlides/notesSlide26.xml" ContentType="application/vnd.openxmlformats-officedocument.presentationml.notesSlide+xml"/>
  <Override PartName="/ppt/charts/chart62.xml" ContentType="application/vnd.openxmlformats-officedocument.drawingml.chart+xml"/>
  <Override PartName="/ppt/charts/style14.xml" ContentType="application/vnd.ms-office.chartstyle+xml"/>
  <Override PartName="/ppt/charts/colors14.xml" ContentType="application/vnd.ms-office.chartcolorstyle+xml"/>
  <Override PartName="/ppt/tags/tag93.xml" ContentType="application/vnd.openxmlformats-officedocument.presentationml.tags+xml"/>
  <Override PartName="/ppt/notesSlides/notesSlide27.xml" ContentType="application/vnd.openxmlformats-officedocument.presentationml.notesSlide+xml"/>
  <Override PartName="/ppt/charts/chart63.xml" ContentType="application/vnd.openxmlformats-officedocument.drawingml.chart+xml"/>
  <Override PartName="/ppt/charts/style15.xml" ContentType="application/vnd.ms-office.chartstyle+xml"/>
  <Override PartName="/ppt/charts/colors15.xml" ContentType="application/vnd.ms-office.chartcolorstyle+xml"/>
  <Override PartName="/ppt/tags/tag94.xml" ContentType="application/vnd.openxmlformats-officedocument.presentationml.tags+xml"/>
  <Override PartName="/ppt/notesSlides/notesSlide28.xml" ContentType="application/vnd.openxmlformats-officedocument.presentationml.notesSlide+xml"/>
  <Override PartName="/ppt/charts/chart64.xml" ContentType="application/vnd.openxmlformats-officedocument.drawingml.chart+xml"/>
  <Override PartName="/ppt/charts/style16.xml" ContentType="application/vnd.ms-office.chartstyle+xml"/>
  <Override PartName="/ppt/charts/colors16.xml" ContentType="application/vnd.ms-office.chartcolorstyle+xml"/>
  <Override PartName="/ppt/tags/tag95.xml" ContentType="application/vnd.openxmlformats-officedocument.presentationml.tags+xml"/>
  <Override PartName="/ppt/notesSlides/notesSlide29.xml" ContentType="application/vnd.openxmlformats-officedocument.presentationml.notesSlide+xml"/>
  <Override PartName="/ppt/charts/chart65.xml" ContentType="application/vnd.openxmlformats-officedocument.drawingml.chart+xml"/>
  <Override PartName="/ppt/charts/style17.xml" ContentType="application/vnd.ms-office.chartstyle+xml"/>
  <Override PartName="/ppt/charts/colors17.xml" ContentType="application/vnd.ms-office.chartcolorstyle+xml"/>
  <Override PartName="/ppt/tags/tag96.xml" ContentType="application/vnd.openxmlformats-officedocument.presentationml.tags+xml"/>
  <Override PartName="/ppt/notesSlides/notesSlide30.xml" ContentType="application/vnd.openxmlformats-officedocument.presentationml.notesSlide+xml"/>
  <Override PartName="/ppt/charts/chart66.xml" ContentType="application/vnd.openxmlformats-officedocument.drawingml.chart+xml"/>
  <Override PartName="/ppt/charts/style18.xml" ContentType="application/vnd.ms-office.chartstyle+xml"/>
  <Override PartName="/ppt/charts/colors18.xml" ContentType="application/vnd.ms-office.chartcolorstyle+xml"/>
  <Override PartName="/ppt/tags/tag97.xml" ContentType="application/vnd.openxmlformats-officedocument.presentationml.tags+xml"/>
  <Override PartName="/ppt/notesSlides/notesSlide31.xml" ContentType="application/vnd.openxmlformats-officedocument.presentationml.notesSlide+xml"/>
  <Override PartName="/ppt/charts/chart67.xml" ContentType="application/vnd.openxmlformats-officedocument.drawingml.chart+xml"/>
  <Override PartName="/ppt/charts/style19.xml" ContentType="application/vnd.ms-office.chartstyle+xml"/>
  <Override PartName="/ppt/charts/colors19.xml" ContentType="application/vnd.ms-office.chartcolorstyle+xml"/>
  <Override PartName="/ppt/tags/tag98.xml" ContentType="application/vnd.openxmlformats-officedocument.presentationml.tags+xml"/>
  <Override PartName="/ppt/notesSlides/notesSlide32.xml" ContentType="application/vnd.openxmlformats-officedocument.presentationml.notesSlide+xml"/>
  <Override PartName="/ppt/charts/chart68.xml" ContentType="application/vnd.openxmlformats-officedocument.drawingml.chart+xml"/>
  <Override PartName="/ppt/charts/style20.xml" ContentType="application/vnd.ms-office.chartstyle+xml"/>
  <Override PartName="/ppt/charts/colors20.xml" ContentType="application/vnd.ms-office.chartcolorstyle+xml"/>
  <Override PartName="/ppt/tags/tag99.xml" ContentType="application/vnd.openxmlformats-officedocument.presentationml.tags+xml"/>
  <Override PartName="/ppt/notesSlides/notesSlide33.xml" ContentType="application/vnd.openxmlformats-officedocument.presentationml.notesSlide+xml"/>
  <Override PartName="/ppt/charts/chart69.xml" ContentType="application/vnd.openxmlformats-officedocument.drawingml.chart+xml"/>
  <Override PartName="/ppt/charts/style21.xml" ContentType="application/vnd.ms-office.chartstyle+xml"/>
  <Override PartName="/ppt/charts/colors21.xml" ContentType="application/vnd.ms-office.chartcolorstyle+xml"/>
  <Override PartName="/ppt/tags/tag100.xml" ContentType="application/vnd.openxmlformats-officedocument.presentationml.tags+xml"/>
  <Override PartName="/ppt/notesSlides/notesSlide34.xml" ContentType="application/vnd.openxmlformats-officedocument.presentationml.notesSlide+xml"/>
  <Override PartName="/ppt/charts/chart70.xml" ContentType="application/vnd.openxmlformats-officedocument.drawingml.chart+xml"/>
  <Override PartName="/ppt/charts/style22.xml" ContentType="application/vnd.ms-office.chartstyle+xml"/>
  <Override PartName="/ppt/charts/colors22.xml" ContentType="application/vnd.ms-office.chartcolorstyle+xml"/>
  <Override PartName="/ppt/tags/tag101.xml" ContentType="application/vnd.openxmlformats-officedocument.presentationml.tags+xml"/>
  <Override PartName="/ppt/notesSlides/notesSlide35.xml" ContentType="application/vnd.openxmlformats-officedocument.presentationml.notesSlide+xml"/>
  <Override PartName="/ppt/charts/chart71.xml" ContentType="application/vnd.openxmlformats-officedocument.drawingml.chart+xml"/>
  <Override PartName="/ppt/charts/style23.xml" ContentType="application/vnd.ms-office.chartstyle+xml"/>
  <Override PartName="/ppt/charts/colors23.xml" ContentType="application/vnd.ms-office.chartcolorstyle+xml"/>
  <Override PartName="/ppt/tags/tag102.xml" ContentType="application/vnd.openxmlformats-officedocument.presentationml.tags+xml"/>
  <Override PartName="/ppt/notesSlides/notesSlide36.xml" ContentType="application/vnd.openxmlformats-officedocument.presentationml.notesSlide+xml"/>
  <Override PartName="/ppt/charts/chart72.xml" ContentType="application/vnd.openxmlformats-officedocument.drawingml.chart+xml"/>
  <Override PartName="/ppt/charts/style24.xml" ContentType="application/vnd.ms-office.chartstyle+xml"/>
  <Override PartName="/ppt/charts/colors24.xml" ContentType="application/vnd.ms-office.chartcolorstyle+xml"/>
  <Override PartName="/ppt/tags/tag103.xml" ContentType="application/vnd.openxmlformats-officedocument.presentationml.tags+xml"/>
  <Override PartName="/ppt/notesSlides/notesSlide37.xml" ContentType="application/vnd.openxmlformats-officedocument.presentationml.notesSlide+xml"/>
  <Override PartName="/ppt/charts/chart73.xml" ContentType="application/vnd.openxmlformats-officedocument.drawingml.chart+xml"/>
  <Override PartName="/ppt/charts/style25.xml" ContentType="application/vnd.ms-office.chartstyle+xml"/>
  <Override PartName="/ppt/charts/colors25.xml" ContentType="application/vnd.ms-office.chartcolorstyle+xml"/>
  <Override PartName="/ppt/tags/tag104.xml" ContentType="application/vnd.openxmlformats-officedocument.presentationml.tags+xml"/>
  <Override PartName="/ppt/notesSlides/notesSlide38.xml" ContentType="application/vnd.openxmlformats-officedocument.presentationml.notesSlide+xml"/>
  <Override PartName="/ppt/charts/chart74.xml" ContentType="application/vnd.openxmlformats-officedocument.drawingml.chart+xml"/>
  <Override PartName="/ppt/charts/style26.xml" ContentType="application/vnd.ms-office.chartstyle+xml"/>
  <Override PartName="/ppt/charts/colors26.xml" ContentType="application/vnd.ms-office.chartcolorstyle+xml"/>
  <Override PartName="/ppt/tags/tag105.xml" ContentType="application/vnd.openxmlformats-officedocument.presentationml.tags+xml"/>
  <Override PartName="/ppt/notesSlides/notesSlide39.xml" ContentType="application/vnd.openxmlformats-officedocument.presentationml.notesSlide+xml"/>
  <Override PartName="/ppt/charts/chart75.xml" ContentType="application/vnd.openxmlformats-officedocument.drawingml.chart+xml"/>
  <Override PartName="/ppt/charts/style27.xml" ContentType="application/vnd.ms-office.chartstyle+xml"/>
  <Override PartName="/ppt/charts/colors27.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83"/>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Summary Category" id="{EC237AE2-E339-46CA-B34F-FBF08FF39E34}">
          <p14:sldIdLst>
            <p14:sldId id="2147477365"/>
            <p14:sldId id="2147477366"/>
            <p14:sldId id="2147477367"/>
          </p14:sldIdLst>
        </p14:section>
        <p14:section name="Price Positioning Summary Sector" id="{5310BAE6-02AA-4B6D-B54B-11F59B4CBEA3}">
          <p14:sldIdLst>
            <p14:sldId id="2147477368"/>
            <p14:sldId id="2147477369"/>
            <p14:sldId id="2147477370"/>
          </p14:sldIdLst>
        </p14:section>
        <p14:section name="Price Positioning Summary Segment" id="{0962F759-440F-4086-B0D1-3A65A196D882}">
          <p14:sldIdLst>
            <p14:sldId id="2147477371"/>
            <p14:sldId id="2147477372"/>
            <p14:sldId id="2147477373"/>
          </p14:sldIdLst>
        </p14:section>
        <p14:section name="Price Positioning Analysis By Brands" id="{F7935FB6-A41D-4453-8200-B480A100DC7C}">
          <p14:sldIdLst>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Lst>
        </p14:section>
        <p14:section name="Price Positioning Analysis By Manufacturer" id="{5004211C-C65D-4B11-8C6F-999985C3662E}">
          <p14:sldIdLst>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Lst>
        </p14:section>
        <p14:section name="Sectors Share and Growth By Brands" id="{274919D1-096E-411E-8C8A-B00BF4A1F4F6}">
          <p14:sldIdLst>
            <p14:sldId id="2147477404"/>
            <p14:sldId id="2147477405"/>
            <p14:sldId id="2147477406"/>
          </p14:sldIdLst>
        </p14:section>
        <p14:section name="Segments Share and Growth By Brands" id="{C9C70D90-C9C1-4A09-8DB8-7BD829F7A55C}">
          <p14:sldIdLst>
            <p14:sldId id="2147477407"/>
            <p14:sldId id="2147477408"/>
            <p14:sldId id="2147477409"/>
          </p14:sldIdLst>
        </p14:section>
        <p14:section name="Sectors Share and Growth By Manufacturer" id="{EE825EB7-536C-4F14-A4A2-F97FE3BBBB79}">
          <p14:sldIdLst>
            <p14:sldId id="2147477410"/>
            <p14:sldId id="2147477411"/>
            <p14:sldId id="2147477412"/>
          </p14:sldIdLst>
        </p14:section>
        <p14:section name="Segments Share and Growth By Manufacturer" id="{CD782B45-6147-4AA5-A03F-7E66CF3B20A0}">
          <p14:sldIdLst>
            <p14:sldId id="2147477413"/>
            <p14:sldId id="2147477414"/>
            <p14:sldId id="2147477415"/>
          </p14:sldIdLst>
        </p14:section>
        <p14:section name="Sec/Seg Value Sales Vs Avg Price By Manufacturer" id="{3A106864-E0F7-4055-903B-46D1ABE671D0}">
          <p14:sldIdLst>
            <p14:sldId id="2147477416"/>
            <p14:sldId id="2147477417"/>
            <p14:sldId id="2147477418"/>
          </p14:sldIdLst>
        </p14:section>
        <p14:section name="Sec/Seg Value Sales Vs Avg Price" id="{81A03BDF-E8B9-4A63-83A3-183233B03ABF}">
          <p14:sldIdLst>
            <p14:sldId id="2147477419"/>
            <p14:sldId id="2147477420"/>
            <p14:sldId id="2147477421"/>
            <p14:sldId id="2147477422"/>
            <p14:sldId id="2147477423"/>
            <p14:sldId id="2147477424"/>
            <p14:sldId id="2147477425"/>
            <p14:sldId id="2147477426"/>
          </p14:sldIdLst>
        </p14:section>
        <p14:section name="Sectors Value Sales Vs Avg Price" id="{63759BB7-2E19-4EF0-872D-9F3FA11E36EF}">
          <p14:sldIdLst>
            <p14:sldId id="2147477427"/>
            <p14:sldId id="2147477428"/>
            <p14:sldId id="2147477429"/>
            <p14:sldId id="2147477430"/>
            <p14:sldId id="2147477431"/>
            <p14:sldId id="2147477432"/>
            <p14:sldId id="2147477433"/>
            <p14:sldId id="2147477434"/>
          </p14:sldIdLst>
        </p14:section>
        <p14:section name="Segment Value Sales Vs Avg Price" id="{730EF6F1-CC1B-42E2-BF4D-9E632891C3E8}">
          <p14:sldIdLst>
            <p14:sldId id="2147477435"/>
            <p14:sldId id="2147477436"/>
            <p14:sldId id="2147477437"/>
            <p14:sldId id="2147477438"/>
            <p14:sldId id="2147477439"/>
            <p14:sldId id="2147477440"/>
            <p14:sldId id="2147477441"/>
            <p14:sldId id="2147477442"/>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presProps" Target="presProps.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notesMaster" Target="notesMasters/notesMaster1.xml"/><Relationship Id="rId88"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tableStyles" Target="tableStyles.xml"/><Relationship Id="rId61" Type="http://schemas.openxmlformats.org/officeDocument/2006/relationships/slide" Target="slides/slide57.xml"/><Relationship Id="rId82" Type="http://schemas.openxmlformats.org/officeDocument/2006/relationships/slide" Target="slides/slide7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1.xml"/><Relationship Id="rId1" Type="http://schemas.microsoft.com/office/2011/relationships/chartStyle" Target="style1.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2.xml"/><Relationship Id="rId1" Type="http://schemas.microsoft.com/office/2011/relationships/chartStyle" Target="style2.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3.xml"/><Relationship Id="rId1" Type="http://schemas.microsoft.com/office/2011/relationships/chartStyle" Target="style3.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4.xml"/><Relationship Id="rId1" Type="http://schemas.microsoft.com/office/2011/relationships/chartStyle" Target="style4.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xml"/><Relationship Id="rId1" Type="http://schemas.microsoft.com/office/2011/relationships/chartStyle" Target="style5.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6.xml"/><Relationship Id="rId1" Type="http://schemas.microsoft.com/office/2011/relationships/chartStyle" Target="style6.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7.xml"/><Relationship Id="rId1" Type="http://schemas.microsoft.com/office/2011/relationships/chartStyle" Target="style7.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8.xml"/><Relationship Id="rId1" Type="http://schemas.microsoft.com/office/2011/relationships/chartStyle" Target="style8.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9.xml"/><Relationship Id="rId1" Type="http://schemas.microsoft.com/office/2011/relationships/chartStyle" Target="style9.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10.xml"/><Relationship Id="rId1" Type="http://schemas.microsoft.com/office/2011/relationships/chartStyle" Target="style10.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11.xml"/><Relationship Id="rId1" Type="http://schemas.microsoft.com/office/2011/relationships/chartStyle" Target="style11.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12.xml"/><Relationship Id="rId1" Type="http://schemas.microsoft.com/office/2011/relationships/chartStyle" Target="style12.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13.xml"/><Relationship Id="rId1" Type="http://schemas.microsoft.com/office/2011/relationships/chartStyle" Target="style13.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14.xml"/><Relationship Id="rId1" Type="http://schemas.microsoft.com/office/2011/relationships/chartStyle" Target="style14.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15.xml"/><Relationship Id="rId1" Type="http://schemas.microsoft.com/office/2011/relationships/chartStyle" Target="style15.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16.xml"/><Relationship Id="rId1" Type="http://schemas.microsoft.com/office/2011/relationships/chartStyle" Target="style16.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17.xml"/><Relationship Id="rId1" Type="http://schemas.microsoft.com/office/2011/relationships/chartStyle" Target="style17.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18.xml"/><Relationship Id="rId1" Type="http://schemas.microsoft.com/office/2011/relationships/chartStyle" Target="style18.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19.xml"/><Relationship Id="rId1" Type="http://schemas.microsoft.com/office/2011/relationships/chartStyle" Target="style19.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20.xml"/><Relationship Id="rId1" Type="http://schemas.microsoft.com/office/2011/relationships/chartStyle" Target="style20.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21.xml"/><Relationship Id="rId1" Type="http://schemas.microsoft.com/office/2011/relationships/chartStyle" Target="style21.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22.xml"/><Relationship Id="rId1" Type="http://schemas.microsoft.com/office/2011/relationships/chartStyle" Target="style22.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23.xml"/><Relationship Id="rId1" Type="http://schemas.microsoft.com/office/2011/relationships/chartStyle" Target="style23.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24.xml"/><Relationship Id="rId1" Type="http://schemas.microsoft.com/office/2011/relationships/chartStyle" Target="style24.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25.xml"/><Relationship Id="rId1" Type="http://schemas.microsoft.com/office/2011/relationships/chartStyle" Target="style25.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26.xml"/><Relationship Id="rId1" Type="http://schemas.microsoft.com/office/2011/relationships/chartStyle" Target="style26.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27.xml"/><Relationship Id="rId1" Type="http://schemas.microsoft.com/office/2011/relationships/chartStyle" Target="style27.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6FD8083-EC59-4475-B283-831A676C5A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5D8172C-8C62-4568-9142-BC2B6163E7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6579964-6200-46CF-9374-9C0810AA87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07DAB0B-93D8-46C6-96AE-93140AC37E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2AA9D3B-0A9C-42DA-AA83-D436404682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BF07FFE-3D21-42CA-B92A-E418777CAF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4F92217-817C-467F-A67B-D96AB581AC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A522E93-A4DC-40A5-A84F-F66EB254A3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3CC1624-12DA-4976-AD2A-E176B46283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2E6B589-22EE-4E3A-9214-8D4722DE3B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3A7FEF0-0061-4EE1-9AAB-A8CFAC4C62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D8506E2-5646-4EFE-94EC-823743AD43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B04D326-3B80-4676-84F8-F57993AE9E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D05B42D-B834-4510-833B-78F1427E37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3B10E4D-07A3-4E2C-ADF7-36505DF43B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5C78922-E6A2-4632-AB05-789A5ECFB2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FB128FA6-A99A-4D11-B722-A9AA53B3E6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516C7DF7-8404-4902-9C7E-58A632D023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AC0C1FFF-5E26-4337-ABE4-44F8B92C0E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ED126425-9E8A-4535-B748-18DDF3810E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3DBE0D36-FF85-4BF5-847C-1D94BC1C25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EEEEF2C4-EA8E-4FFB-9950-A9BC67AC50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2CA1CFA8-4A87-420C-865C-E32F00D00C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14660A34-1A59-4A70-8B0D-C5A68B85A5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CFC1B36A-46E3-4895-A758-0FDAAE01C2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B03F815B-C774-48F3-B5EC-8BC4A30371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F94C1357-B482-4288-ACB4-BEECF3C976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7FC740C6-6EF1-4B51-A26D-E70356FF86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9E2A214F-A32B-4B84-B35D-2E1EB6CFAC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6C1DF77D-3AC7-4F56-95AC-225E3E4C31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8D530E77-7EAE-417D-9EF6-78589AAEE9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A290F2E9-6409-4DCE-950B-6CC4B4C242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775B378-694A-45F6-89E8-E5515F550B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32B25FB-1804-4FD5-B45A-B5D390CECF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01C566E-CBBB-4B02-AD9B-4B54D6536C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26591D2-5C7C-489B-90D4-332035CA6D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E1F01E4-E0DC-484D-93F8-4E0FDA89FA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2CC0A11-4370-418C-894C-CA3B01666C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085EC23-2A61-4AB4-B23D-35AE51E98D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DD37D8C-8D54-4C8A-8AC3-74469A74FB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49633B99-45BF-4D27-9A0C-197D7E4CBF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3A8AB6F1-46A5-41DC-96AA-40BE52BA93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8BEC09FE-82D3-4FA2-AD5F-C3DC939AB8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E658C328-CED5-4062-9301-8F57B34560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2DA52FA5-FE67-4E8F-9D00-7F01004532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2595ECA3-9ADF-425E-A1EF-A9F7BEB844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4FCB67DB-7CD0-4640-A844-EB1580FAE0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19BFE0C8-EF4E-477D-9B47-E1C88A48BC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D75897DD-FC80-4876-8BCE-14BF917709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B4FD65E0-051B-4888-AC5E-41A3582579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ADA9523C-C17C-4AED-9E72-AC9B69794A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A6ED653F-A031-421D-B517-21E9A84E9E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194B66A7-3C73-4713-89AA-27260E7A28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3C3B2F81-0EF9-4E0B-9461-C03C431FFA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0B9C8485-1CDF-4719-B884-FB8E84F4CE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3548217A-9A5A-48C2-B24E-9673DADF24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6B82AFF-7605-4B84-BCDA-66DF70AFE2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6C32D6D-A34D-4B11-9C04-D453F10720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F3C2EA3-F1A1-41FA-9A94-4294CBF516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B92E413-F893-4EFD-B083-BE3AA93174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40D06BF-20BC-40F5-8A69-7A9A590BEB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26DBE1C-A1D8-491E-982F-A6A5BC2CBA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2300687-FE5E-4D96-B48B-259CD0A9FD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F4E1DA1-A4BE-4A23-95FE-6F2F8D717A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32241E36-A8B4-43B3-A447-36A30334C6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05DF4D17-0EF2-436F-A991-A69501300A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725C8240-894B-4CD4-97D4-0DE7E746C3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3A7BE41C-2F44-4B78-8612-67C7FBE20D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B35F5944-6F1E-482B-8CCE-C63BDCB911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184C27AE-8585-468B-ABE1-4B40FD58DC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0150E22B-FF37-408A-A89B-5E4B06568C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964C8480-27C0-4852-83D5-D3F78C299C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2523B593-3E2F-4589-BC17-2156D9993C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F60224AC-00C4-4B53-A0AA-2BF83CFB52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22F8176B-65CA-4AC4-9339-5E0AB0839E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9DB71ECD-86CB-45F0-9DA5-ACA76B4746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C4E6D553-E1B7-4AF6-86FD-E5652C432A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1F038EF0-3425-4B68-AB60-6E5A086A93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F0AAEAB8-9195-44CA-91D6-C186848CD5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0AFC826C-9FEC-4098-9E7F-F3A6129ECF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A68B301-0D9B-46EB-A4C7-C6EAA8FF79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99247DC-6BF7-4C65-AF0E-DB6EB0731E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AEF0ED7-3DD6-46B0-AE22-FC4AE212FE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BD0C3E0-412F-4CB3-93DE-3CFEBAE431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10AF3E6-49B1-47B3-A85C-3544FF56E3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06F04C4-D00B-40AB-8190-F638759D60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000AD7E-67C5-4F02-AE7F-C10E1DA0C6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9E00A77-E0F1-40AF-8479-F0363561D7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8CD6F97-35B3-42E5-8ED6-529BD72A6E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8198CEC-1400-4970-B1DD-F0865582E8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CD726E3-BFEA-47B4-9500-40B128A954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D5525D6-9EFB-49C4-A79F-65E23EE035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3AF8F4C-45F7-4F0E-80F5-048CB0F1C6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B966A2F-888C-437C-BD9E-94EE1C685D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538E947-F649-4834-B377-925A2B9234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8C10B9E-415C-4220-B628-440C024776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6B957C6-059D-4FC0-BDE0-910052F32E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6ECC511-D653-4328-AA7F-5BF0EACDF1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46B09D7-C5D1-4F3D-BA12-B786EB026F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71179B7-34D9-44CD-9A19-0B42D448DE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41C29AA-212F-4AA5-87E1-1E554BEFA4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11E5202-62A8-440A-8E63-A945722887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8A50DA7-175E-4C3F-AA36-6B7ECBE3F7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B1114D6-C6CD-4F0F-B85E-058A37923B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4582A2E-B697-4BDB-A912-CE47484E64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DAD40B0-E43D-4850-849A-67F3561165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315C0CB-104F-401F-9D08-ADC193B02D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4A6ABC7-A797-43A8-801B-96B8BEF4D7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92E21A5-62DB-4D9F-958C-86B61328A1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FF2D892-5C7A-4761-972C-DF1F458BEE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12D98E4-E2D3-44A4-8DD5-467D364AD3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5A55160-0776-4007-9C5C-DF56BE74AB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C10259F-D7E8-43B7-9CF0-F846D5D884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4D67F1E-4870-4632-8BA9-A1D3CAEA17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21D5132-52A2-41C1-B552-26672F8893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D07CFB3-BED5-485A-BB9E-861CCD47B8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235A74B-363F-48D7-80AB-C95C670513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770D275-A471-4345-B359-C7C6F52603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EBAACB0-809B-4ECA-BEFB-FA17519611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EA3E6F5-FEB3-462D-82DB-C191EEBB6C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6F7C08E-A9BF-4BB1-9673-C22E84382F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DAF4AE4-F38D-4519-8D53-8B8F828311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41C7A83-9141-49FD-9577-62E9C8375D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3E83A40-040D-4CE1-9D6D-72B8D78FE1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2F47E23-CE4F-40E0-953F-AFD983FEC2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EEB6AB7-BF45-4223-8C6D-DFD7D7BD05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C1EB1EF-30DA-4981-A8C5-71638DFE35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AE7973A-BF73-4483-88C7-5F09875101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1429A76-1CA4-488D-B116-3950BDE61B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4DA77EF-4416-43EF-B49A-DBD8BC039E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B36E7F9-E0A9-4E65-8425-20B3D5824F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76DCE49-E2D7-4740-84CE-4373EA9B0B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BCD5FC1-832E-469D-AB01-FB523DBDDC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AF61839-2B2A-4FAB-AE6D-18C7601769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4D2D84E-B330-4AA4-9C72-F628A28EF4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7A12B22-9418-4DB0-ADA0-833EBA310E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2BE6B48-FE8F-4687-B351-EAF9A96414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41AF57C-C97F-4077-B579-41BA7CCCB2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141FD99-E00F-41AE-8CB1-ACB329713F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BD8AA97-3DEA-46AB-B7EB-C3D97AAF3F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EDFC6D4-8BBC-449C-B32A-48723E4D38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E83499B-82B6-41DF-B611-179F61717D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98E62CA-8D4A-48C9-A32C-19BF26D454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923F8DE-E807-4BBA-87F3-42869CB651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A4AA204-8811-46D7-AC6A-11FFB12871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7F362BE-E367-4293-8140-BE8DAB3FEC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04B052B-5ECB-461C-A8CE-CBFB937973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A91A060-D3FE-47EA-9A7E-64BA181716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83DF1B6-2732-4696-BC13-72470FD3E1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F66A1B4-3666-4BD0-A778-2E779130E5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5CAFB4A-26F2-4AD9-867B-BDAFA45154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28B9D2C-2E92-4EB5-B538-223EE3128E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55AF230-ED0D-4A59-8082-3A17FE0535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8E991BA-CF69-4AB9-8197-9CDB8F7150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C90AED6-CFDB-4B9B-BA12-7B17C600DE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F235AC3-E990-40AF-A7D3-1C28ACB3A4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461542A-5596-4848-96FA-CB32CA7D38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AA37A2E-3CB4-41A9-8385-33AF68DFE3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85A95E4-1403-4F8C-820F-9AC484E00B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A625D53-C8EA-434E-BCA7-4B745BF2BF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6593E0E-6091-4281-B461-26B0E807C6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5021E4A-3399-4006-B4AD-95EE2CA210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D4AAEDF-E463-418B-ADB9-9CF64AC421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05E143C-239B-43E5-9E37-2776CE592D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E02AEDB-CC6E-4FF9-9D78-D2EED66C03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DEB6CA0-5344-4E98-8165-0D1C0692BA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D690B0E-27E0-4762-8E98-DB97443CE8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77C15D2-204C-41E7-8D92-743FE64309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B2B743A-56F2-4DDE-BEE1-74F6149AA8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73BB754-2DBE-4415-88C6-6FFAD0DD21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C71A555-A2B1-41F6-9387-4FB22C9EE0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0789488-8FDF-45A6-96E7-2D0433009C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CAFD6C9-043C-4914-85A1-D48395BEA6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468D8B4-6D8E-4300-A55F-C4ECDC5AF5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B958A77-A400-4CFA-BDB1-34A6428AF9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50848EA-AB3B-4686-9829-49D3B2FC91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E840EDA-8D37-4ABB-820B-330A0D34C8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AB1BCD9-119F-4EEC-A75E-6A95C1A145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196402E-60E0-4DF2-BEC9-3B33DDE3D1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B7C54CB-ECAC-4191-809A-E51BE6FDAC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B6615E3-2EB5-4F3A-9240-C7C8116285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DD7BEF1-A103-4775-AD60-500160E357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DF21D55-2442-4AB4-843F-E705E9725D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CB405CF-5CEC-49F8-9C16-6E9D312B13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5C240A8-8357-49E7-AEF1-A54E5D9582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BDFC687-CE46-418E-A103-FFC7F068B7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F48C543-6F06-405C-B068-0A0D7C153F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3DC0581-3E7B-4504-98AF-EFA54A1F7B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D9DC557-34B6-469E-A6FE-0E3942AEC5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BAD2ADE-7B2B-4C1D-A881-2ABF200C4A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5A5104C-9C65-41D2-BBE8-D40D0A1FAF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026C421-CCCA-4B11-AB88-063F685777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6062F5D-D737-4D6E-9B55-C536A7915B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2A173EB-394A-4209-AB97-36DE5AD446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7167365-B167-4C43-9F62-9F32913E7F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DCFE028-8029-42DC-B13F-A0C2C572E3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105ACA7-EF68-4737-8116-57039160E2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A3A9007-FC22-4623-9E1C-0ED51E34E5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CBC5AE9-A41B-4414-8E0E-113745CD62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473F33A-7DDA-4C0E-B812-370CE09F0C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15D0341-1640-4CCB-BFF9-5A51B29BA7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15FA3C9-16CC-47B4-B912-8DB42C8EAD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2EF3D5F-D5AF-4E72-B4EF-7FDF3992A2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3AC3197-2557-4285-A752-EC8F3C31DF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2AF127E-581C-431A-BB0C-5B65B3ED43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0D06FF2-AFC4-470C-88D0-200298B7AF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BC2BDCF-C817-4EAD-9C26-5BB502787A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A5C0244-8DA4-4DF7-8E4A-AA97C0EC1A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A1C9E39-7C6F-415D-A6DA-856F477FAB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DA4FFCD-79A0-48EE-A8D1-A1B00B260A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36E3874-AFE3-4B01-9C03-EA87392E6F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1CB3A9F-DDCD-44D5-8EED-106305E3CF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0C37CE9-2CF6-46B1-9491-F10D2B9B8F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B59F961-9904-49B9-9C2E-2B24315187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6A351C6-0164-4936-BA29-15C57AD548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A02FE40-B061-4B39-8A99-FAEA96D28E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B576F6D-7491-4F28-B737-E3804B3E15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26175F4-C869-4A8D-B74D-96D4CFB2B0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2A9C291-A417-4AA9-815D-897DF76EF6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BC465B1-26A9-4653-B792-1FDBC4A80F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8C7B92D-BC0E-43BD-8F07-DE663C88F9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3D6AA41-8AD4-44C1-93D8-9B7853C4D1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E8F310F-91AE-4E75-8EA3-F114C0927E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AEC9831-2367-4339-B6B1-3A9C97326E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416DE75-FC9B-4088-BA41-3003D5DD57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8B4F04C-21D7-4D48-ACA2-866DA3B0AD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9CDDB9C-80F3-47FD-A190-FCAE568073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123C9B9-23F8-4127-939A-ACED44B309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26ED8A6-8CF0-483A-9A68-935A2D6D77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907FB3B-EC43-476F-8877-E359717BE5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E7DCB72-4E92-49A5-BFBA-713FBCD488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DCA848F-E6A1-4F33-95CE-9826A1224B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F15EFBC-7B95-4EF9-8FA3-6B4B5A79BB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D19A7B1-AAAB-4859-9539-9E6AA9921D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4B83E45-35C8-45C3-BF9C-DCD86CCF24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4FB7EDE-083F-430E-9371-802A0E9BE4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08C88C3-D0BB-4C44-9B11-0EE5DD5D0F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1413F69-0B7A-4203-AC9F-6DBFEFDD8A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FB41F34-B4D1-4CC9-8D84-9D1B48043B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13D5412-4D57-4999-BB52-19ED242A88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918B1AC-0E97-4C8C-9242-210CEA3050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5A28A23-FB02-4AF8-B005-6F1177D88E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A0A12F0-815F-42B2-83A0-3C8EBC7EF3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6F9432D-95A0-498E-B94D-BC29CA89C4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22BA9AA-D756-4327-8FFA-6147EE9369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7074F37-985B-401D-A448-A75015A71A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D31D3F0-0DAE-405B-8075-8583B30F28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3CF3DC2-69A3-45C8-BDA6-69BF7240DA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935AB34-6D73-442E-942E-D623037F13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D37D953-2083-47FF-83EE-16A4575B40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737BEFE-F802-4252-81E1-94EC637E8D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480AC3C-03AC-4999-913F-55DE1D2F69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D240DF2-3FC5-40FF-A702-0E09469878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B6BAC57-25FD-46BE-A767-929777AFB2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2BFB6E4-4E1B-4B97-BC86-055E83550B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10AD670-0D2D-4579-8F4D-BF2112BE5C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630C711-374E-4D6C-A5EB-008207A20F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6E445E1-D66B-4CD4-8FEF-B80BE19268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A223EEF-CC70-4EEE-8C24-2BB75B0D14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17532AE-86AB-4273-88F9-0667504E65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A2FA458-6AD8-4105-8900-263CC87EC9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8BF438E-0F9E-4F70-BD37-C49D7742B0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EE7B614-E61B-4379-BF38-C1C0F2DE6F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C96846D-5DB9-41B9-981F-05EF3E4966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DFF2BC3-D595-48C8-8B5A-7F085BA162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0DAF08F-3CC9-4124-A40C-2476503E6E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302908C-C92D-4A9E-816F-A16BFD87FE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01A8A3C-03D1-4C76-993A-3445F46914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0CAB099-4C63-45F0-8E1A-05C6B32BE9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70DB8FD-49FE-4338-AC02-650C8403AE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46FF175-9ED4-488C-A6E3-CB2989A4B0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A7B90C2-225B-4363-8281-7A70B51BB0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311D344-B5AA-4F05-9149-0B36008B62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A0E1EBE-ABC4-475A-915B-CF1D6982F7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0857CF4-5BBE-441F-AAFD-AB939F506C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E807AD6-96F5-40F2-90B2-37B1CFB630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28F0A65-17C5-4CCC-A917-DBA0D527BE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AA513AE-4B7F-404F-AB97-1E9CBE77E9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DBBE87A-20FE-418B-9728-5F55D3F93D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7FB54FC-1609-4D23-B34A-CE79AA63E9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7B161A9-7556-4B62-B90B-0E903901AA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D77CAF7-C045-4D5C-98A7-3294FEC98E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094EA9D-2717-4FAE-84D2-5D910D669B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90B90B2-04DA-40BA-9115-C293D46C7E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B5E8A74-E4DC-44E0-94FD-CBEBBAA686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9F61587-2A99-4821-88C9-3F1F169432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CA47459-2371-4C81-968A-00BD4775E4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10F3E53-1786-49F1-94E9-0FF83BB50A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65CAE5-EF05-4E34-A64B-77344FD4B5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D5027B7-C778-4D78-A29B-E767EA0E50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B785E5F-2131-4E4A-A614-1203A7D3C5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A734D24-605F-4587-924F-310B6C952F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576D362-CD58-48C4-87CF-D536CB3C98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1945171-9AB3-40A1-93D8-C509B8900F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0D7A730-28DB-4A2A-B3D0-4001597E9D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4E8DA67-4827-47A6-8F3B-8A790D291F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6FE1E9D-0D9B-460C-9523-43D0DDB6E2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B45BDF5-8F54-45DF-9FE6-016B7BB7CD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BC7C36A-B1A9-4FD4-9081-85831FCC16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03C048A-3D70-4BC3-B269-117EF15901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966867B-464B-44CF-83FE-E3227D95D9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25A00FC-6456-4D72-AA71-2FBEDB0791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FDBD88E-F76D-4414-A083-564A40B3D2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1EA80CE-5147-4F39-BA9F-1156C4C360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2110CB7-1976-48E9-8B23-7471DE6179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2BEB489-D82F-4C52-89B8-B4529F4B02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8250C23-336E-490E-905B-39723F418A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AD6CCC5-2D84-4AE7-AF8F-D43FB6EEE1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519AD86-9163-431B-ABFE-31283457DD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12A0B57-79E0-4FDB-A61E-3F6A88A04D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9B2F5B3-4E68-4189-B469-01DC0E4547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E708011-1BCF-4894-908D-6FCDD0AC01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69F1CE6-E02B-44E4-989C-6E6C6A01A2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C75F446-3255-4B0D-BDB2-350E5F2ECA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3230A57-5ABC-4180-8B00-C74AA65754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C81625B-C7D5-4917-8165-5FB5F47B41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AAF515F-617A-48D1-9AF4-054D8FCDC4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D7233B4-9AFC-472A-ADE8-5F524BE5A7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2360191-EEA2-49C3-85D8-C9365A2D18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0B47172-A9C6-449D-8CCE-C3E85DEA95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C11A449-C4CB-4940-8EC8-630C094967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0711AF2-B4D4-49A4-8C42-6D5922F046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AAB53BE-DE9B-4634-8B13-B409ACC1AE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F0A6D8A-1EE5-4FCA-9290-7AD28DF145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4696FBC-62DB-4411-8CE1-A361DFBDD0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753DAEA-89A9-4150-9C46-E80F760F61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173AE50-ABD5-4A11-A290-2B69065B25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82D1B3C-D450-4A7D-9D84-2764668946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4B26DBF-8F11-4D75-A5FD-27796DA43D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4DD15C4-0C05-409C-AABF-72922FFE99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7358678-B7E9-49F3-A1FE-9483CD1579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FC72EEE-DF1E-4FA5-94B8-A3B342BA5A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3CCD5FA-7564-4D0E-BCF5-6F201EADE2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D79EC1A-8A03-4324-A91F-EC151E51D1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41FCC49-D100-474A-9C2D-0645493D00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CEE597D-C032-40C5-8FEE-267C678B5C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EF5580A-025E-4B27-A5CF-E873011ABA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4B2B203-289B-4E52-A68F-2D944F15C5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EE814A1-A217-497E-B18F-D0AE207F4D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217705D-3493-4E3D-AC21-015030BCC3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D29FB45-E6EC-480C-B5DE-D93E0DA2B8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F60D5DB-2780-4D33-9A5B-44D80722B1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75B0B56-7917-4DF5-87E2-87AFCB53A1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24C2C39-FAF9-45AD-880F-4B004E40D2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3975FD7A-FFD4-4BC7-83C2-BA51BDCCF8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CC225504-FF8D-4545-89C0-BAFBDC23E4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F044C8FA-B125-4432-B10B-56C651D7D3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2616A9CB-00A4-494A-810F-10FD23032C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D0302A66-B697-4FE7-A643-6DDF79AD34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569953B6-0ADE-4048-A58D-2BF873FCFF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F8F6A373-10C1-442C-AACB-C59B797F6F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86BBD12F-6667-45F5-BD1E-148927F8B0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98644CA-EB01-44D9-8810-89EE293AFF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2963D56-402D-4E45-BAE4-C0073B6CF0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1D36E37-9FE2-4FAA-B43A-2A4D59DC48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292872E-0A2E-42DE-9539-067AEBE8A5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C6B047B-294F-416A-8D4B-0943904FC7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5DC3E1F-5677-40C6-A2E9-A9F83B388A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A57E09F-ED9D-4651-8A63-5C212EBEF6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09F689B-64BB-4236-B6FB-4355764812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5E0FE23E-C827-406A-9036-D523F80499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39ACCF55-DEE6-4314-B0C1-FA2B66A8F6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C3BD7D6A-010B-405F-A44D-530A6BE4FE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D18A1F73-4FC5-4E43-8DE1-055CF6F37E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39173E0C-92CA-41DD-A90C-AF611FE32C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CB0CAEE3-1ED5-4541-8B0E-C3834521BE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07F473FD-CFC2-45F4-BB88-ED3867E239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8FFD53FE-C41C-4F96-8CC5-00B24F6DCB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B026264-2328-4AAC-B791-45D4FC53AE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52D5300-0E28-48B7-9F9C-52826DAC1E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FED9B22-26CC-43AC-B386-67374A95CE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FC8F770-9DAC-402A-AD19-6CC77D3D19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942192A-60DE-439C-B2C7-DE04D96B4A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64BCB12-16A7-4F30-B2F7-3285D92F5D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269C4F7-8950-449C-9527-3698532272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61CE84E-770A-4CE8-9C8F-FFDFB48E6A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9FFB14A0-2BB2-4348-BE54-D2F6933B55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1EE454A8-3FB1-43DE-8A9D-6BCBF3B1FB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9FE6C0C0-5D5F-4F8F-99E1-E99843AE19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CCB76360-FD43-4A93-B54F-34CE771089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5D83D6D1-B104-4F18-9AED-8BED564440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1C72A09B-3EFF-4B1C-83A0-87C783DCFE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0C02522B-D194-4259-9526-BE8FB75B8F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E8AEC118-0843-4050-8C1D-E93269374B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8/18/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1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1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1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18/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9.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20.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21.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22.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23.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24.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25.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26.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27.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28.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9.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30.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31.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32.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33.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34.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35.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36.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37.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38.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9.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40.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41.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42.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43.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44.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45.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46.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47.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48.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4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5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5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5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5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5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5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5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5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5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5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6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6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6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6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6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6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6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6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6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6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7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7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7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7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7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7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7290365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357058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77313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694576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809752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637035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086369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281205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243516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39762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784927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397752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2074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203734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436141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323062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1663609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953730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978788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196242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5150511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544772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24839135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2190815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4416423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030166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6545096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543519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7631223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657295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8441905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0372337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984114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821A1-2F42-C18A-3A14-0530E70D8A18}"/>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C475BB2-0528-29FB-C158-9EF2E6156FB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A6C569F5-3F88-086F-5B00-1E8A66D0F786}"/>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50C62E0-50F3-8C98-8A6C-00F3BBB96302}"/>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9746381B-5429-20C5-0029-A24C957D1C40}"/>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BCD8A60D-9E09-5437-EE3D-2051F5857F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A4F500DF-07D6-F3F4-D8F8-0A850530D857}"/>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48099170-CF4A-17A7-D8E1-C8D5FA773FD7}"/>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C2E6E30-3D89-617C-9DCF-CEDDBE7FCC0C}"/>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DAAAD5C8-F0B7-3265-8959-069CFDD4A1E7}"/>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DEB88E8D-6B5F-DE01-AAF6-32AD94BA3F03}"/>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24C607CE-76BC-9557-8899-739EB84BB985}"/>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15">
            <a:extLst>
              <a:ext uri="{FF2B5EF4-FFF2-40B4-BE49-F238E27FC236}">
                <a16:creationId xmlns:a16="http://schemas.microsoft.com/office/drawing/2014/main" id="{91EA33FD-D7F4-2B7D-DCF9-187EAC1C77AB}"/>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E4DDF06F-92F0-1389-A3D1-5EC7AC06EDBA}"/>
              </a:ext>
            </a:extLst>
          </p:cNvPr>
          <p:cNvGraphicFramePr>
            <a:graphicFrameLocks noGrp="1"/>
          </p:cNvGraphicFramePr>
          <p:nvPr>
            <p:extLst>
              <p:ext uri="{D42A27DB-BD31-4B8C-83A1-F6EECF244321}">
                <p14:modId xmlns:p14="http://schemas.microsoft.com/office/powerpoint/2010/main" val="2001560134"/>
              </p:ext>
            </p:extLst>
          </p:nvPr>
        </p:nvGraphicFramePr>
        <p:xfrm>
          <a:off x="720534" y="1121410"/>
          <a:ext cx="4056956"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79772276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8/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3186820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8/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9928443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8/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57940762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8/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87806889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8/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46565997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8/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09239381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8/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63393076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8/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65192938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8/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77794890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8/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5295406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821A1-2F42-C18A-3A14-0530E70D8A18}"/>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C475BB2-0528-29FB-C158-9EF2E6156FB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A6C569F5-3F88-086F-5B00-1E8A66D0F786}"/>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50C62E0-50F3-8C98-8A6C-00F3BBB96302}"/>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9746381B-5429-20C5-0029-A24C957D1C40}"/>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BCD8A60D-9E09-5437-EE3D-2051F5857F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A4F500DF-07D6-F3F4-D8F8-0A850530D857}"/>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48099170-CF4A-17A7-D8E1-C8D5FA773FD7}"/>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C2E6E30-3D89-617C-9DCF-CEDDBE7FCC0C}"/>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DAAAD5C8-F0B7-3265-8959-069CFDD4A1E7}"/>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DEB88E8D-6B5F-DE01-AAF6-32AD94BA3F03}"/>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24C607CE-76BC-9557-8899-739EB84BB985}"/>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15">
            <a:extLst>
              <a:ext uri="{FF2B5EF4-FFF2-40B4-BE49-F238E27FC236}">
                <a16:creationId xmlns:a16="http://schemas.microsoft.com/office/drawing/2014/main" id="{91EA33FD-D7F4-2B7D-DCF9-187EAC1C77AB}"/>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E4DDF06F-92F0-1389-A3D1-5EC7AC06EDBA}"/>
              </a:ext>
            </a:extLst>
          </p:cNvPr>
          <p:cNvGraphicFramePr>
            <a:graphicFrameLocks noGrp="1"/>
          </p:cNvGraphicFramePr>
          <p:nvPr>
            <p:extLst>
              <p:ext uri="{D42A27DB-BD31-4B8C-83A1-F6EECF244321}">
                <p14:modId xmlns:p14="http://schemas.microsoft.com/office/powerpoint/2010/main" val="2001560134"/>
              </p:ext>
            </p:extLst>
          </p:nvPr>
        </p:nvGraphicFramePr>
        <p:xfrm>
          <a:off x="720534" y="1121410"/>
          <a:ext cx="4056956"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29414898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8/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5618625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8/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64047343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5344857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2391753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8127224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8592344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9759411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1567153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2209403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257898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821A1-2F42-C18A-3A14-0530E70D8A18}"/>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C475BB2-0528-29FB-C158-9EF2E6156FB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A6C569F5-3F88-086F-5B00-1E8A66D0F786}"/>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50C62E0-50F3-8C98-8A6C-00F3BBB96302}"/>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9746381B-5429-20C5-0029-A24C957D1C40}"/>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BCD8A60D-9E09-5437-EE3D-2051F5857F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A4F500DF-07D6-F3F4-D8F8-0A850530D857}"/>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48099170-CF4A-17A7-D8E1-C8D5FA773FD7}"/>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C2E6E30-3D89-617C-9DCF-CEDDBE7FCC0C}"/>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DAAAD5C8-F0B7-3265-8959-069CFDD4A1E7}"/>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DEB88E8D-6B5F-DE01-AAF6-32AD94BA3F03}"/>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24C607CE-76BC-9557-8899-739EB84BB985}"/>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15">
            <a:extLst>
              <a:ext uri="{FF2B5EF4-FFF2-40B4-BE49-F238E27FC236}">
                <a16:creationId xmlns:a16="http://schemas.microsoft.com/office/drawing/2014/main" id="{91EA33FD-D7F4-2B7D-DCF9-187EAC1C77AB}"/>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E4DDF06F-92F0-1389-A3D1-5EC7AC06EDBA}"/>
              </a:ext>
            </a:extLst>
          </p:cNvPr>
          <p:cNvGraphicFramePr>
            <a:graphicFrameLocks noGrp="1"/>
          </p:cNvGraphicFramePr>
          <p:nvPr>
            <p:extLst>
              <p:ext uri="{D42A27DB-BD31-4B8C-83A1-F6EECF244321}">
                <p14:modId xmlns:p14="http://schemas.microsoft.com/office/powerpoint/2010/main" val="2001560134"/>
              </p:ext>
            </p:extLst>
          </p:nvPr>
        </p:nvGraphicFramePr>
        <p:xfrm>
          <a:off x="720534" y="1121410"/>
          <a:ext cx="4056956"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24788606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6656818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08436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5775026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9893916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714880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9199574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609195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1346353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2503705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101631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74761286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8342402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9558580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3224867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0596951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4339181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8466846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4181336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7366878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782594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1523398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3600247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77</TotalTime>
  <Words>10691</Words>
  <Application>Microsoft Office PowerPoint</Application>
  <PresentationFormat>On-screen Show (16:9)</PresentationFormat>
  <Paragraphs>3992</Paragraphs>
  <Slides>78</Slides>
  <Notes>39</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78</vt:i4>
      </vt:variant>
    </vt:vector>
  </HeadingPairs>
  <TitlesOfParts>
    <vt:vector size="88"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54</cp:revision>
  <dcterms:created xsi:type="dcterms:W3CDTF">2024-07-05T14:56:51Z</dcterms:created>
  <dcterms:modified xsi:type="dcterms:W3CDTF">2025-08-18T10:49: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